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695" r:id="rId3"/>
    <p:sldMasterId id="2147483706" r:id="rId4"/>
    <p:sldMasterId id="2147483717" r:id="rId5"/>
  </p:sldMasterIdLst>
  <p:notesMasterIdLst>
    <p:notesMasterId r:id="rId31"/>
  </p:notesMasterIdLst>
  <p:handoutMasterIdLst>
    <p:handoutMasterId r:id="rId32"/>
  </p:handoutMasterIdLst>
  <p:sldIdLst>
    <p:sldId id="256" r:id="rId6"/>
    <p:sldId id="357" r:id="rId7"/>
    <p:sldId id="343" r:id="rId8"/>
    <p:sldId id="358" r:id="rId9"/>
    <p:sldId id="359" r:id="rId10"/>
    <p:sldId id="342" r:id="rId11"/>
    <p:sldId id="345" r:id="rId12"/>
    <p:sldId id="347" r:id="rId13"/>
    <p:sldId id="362" r:id="rId14"/>
    <p:sldId id="312" r:id="rId15"/>
    <p:sldId id="353" r:id="rId16"/>
    <p:sldId id="377" r:id="rId17"/>
    <p:sldId id="370" r:id="rId18"/>
    <p:sldId id="369" r:id="rId19"/>
    <p:sldId id="375" r:id="rId20"/>
    <p:sldId id="376" r:id="rId21"/>
    <p:sldId id="363" r:id="rId22"/>
    <p:sldId id="378" r:id="rId23"/>
    <p:sldId id="379" r:id="rId24"/>
    <p:sldId id="380" r:id="rId25"/>
    <p:sldId id="350" r:id="rId26"/>
    <p:sldId id="341" r:id="rId27"/>
    <p:sldId id="354" r:id="rId28"/>
    <p:sldId id="356" r:id="rId29"/>
    <p:sldId id="338" r:id="rId30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34" autoAdjust="0"/>
  </p:normalViewPr>
  <p:slideViewPr>
    <p:cSldViewPr snapToGrid="0" showGuides="1">
      <p:cViewPr varScale="1">
        <p:scale>
          <a:sx n="91" d="100"/>
          <a:sy n="91" d="100"/>
        </p:scale>
        <p:origin x="96" y="15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9D668-99ED-49CF-831F-A840C6D76BAE}" type="datetimeFigureOut">
              <a:rPr lang="en-US" smtClean="0"/>
              <a:pPr/>
              <a:t>10/19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292529-66D3-43A7-9086-539AA4A359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7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D4A736-C162-4D71-AF44-405F76366576}" type="datetimeFigureOut">
              <a:rPr lang="en-US" smtClean="0"/>
              <a:pPr/>
              <a:t>10/19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97AD8-F30C-4F9C-820E-149D077B2C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025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se Title 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2" name="Picture 2" descr="https://pbs.twimg.com/profile_images/378800000629767461/5c5bac0da24cad68077969a2b5147845_400x400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2544" y="382587"/>
            <a:ext cx="1961983" cy="1961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95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8" t="12250" r="7770" b="10751"/>
          <a:stretch/>
        </p:blipFill>
        <p:spPr>
          <a:xfrm>
            <a:off x="2133353" y="1131590"/>
            <a:ext cx="4752528" cy="366861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282613" y="761226"/>
            <a:ext cx="216597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/>
            <a:r>
              <a:rPr lang="en-IN" sz="2500" b="1" dirty="0">
                <a:solidFill>
                  <a:srgbClr val="002060"/>
                </a:solidFill>
                <a:latin typeface="Castellar" pitchFamily="18" charset="0"/>
              </a:rPr>
              <a:t>Questions</a:t>
            </a:r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5196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3400" y="819150"/>
            <a:ext cx="8305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important to us, be it a compliment, a suggestion or a complaint. It helps us to make the course better!</a:t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95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997116" y="843185"/>
            <a:ext cx="2091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lo There!!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y name is Annie. </a:t>
            </a:r>
            <a:b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 love quizzes and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zzles and I am here to make you guys think and answer my questions.</a:t>
            </a:r>
          </a:p>
        </p:txBody>
      </p:sp>
      <p:sp>
        <p:nvSpPr>
          <p:cNvPr id="8" name="Oval Callout 7"/>
          <p:cNvSpPr/>
          <p:nvPr userDrawn="1"/>
        </p:nvSpPr>
        <p:spPr>
          <a:xfrm>
            <a:off x="3892021" y="765256"/>
            <a:ext cx="2301413" cy="1520575"/>
          </a:xfrm>
          <a:prstGeom prst="wedgeEllipseCallout">
            <a:avLst>
              <a:gd name="adj1" fmla="val -66422"/>
              <a:gd name="adj2" fmla="val 5292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16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3443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4668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27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7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1175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175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7630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1" y="1355759"/>
            <a:ext cx="3929586" cy="23822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7139" y="832639"/>
            <a:ext cx="3943350" cy="3763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5230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07A182C6-DE33-4717-9328-D7A600982F21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6F270763-AED9-45CD-9365-BBCA49DD3BFC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E72573F4-59D0-4B9B-8D74-A125A38C884A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9128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ngular-js</a:t>
            </a:r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822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82521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96403058"/>
              </p:ext>
            </p:extLst>
          </p:nvPr>
        </p:nvGraphicFramePr>
        <p:xfrm>
          <a:off x="456714" y="574982"/>
          <a:ext cx="6059016" cy="4457700"/>
        </p:xfrm>
        <a:graphic>
          <a:graphicData uri="http://schemas.openxmlformats.org/drawingml/2006/table">
            <a:tbl>
              <a:tblPr firstRow="1" bandRow="1"/>
              <a:tblGrid>
                <a:gridCol w="1066800"/>
                <a:gridCol w="4992216"/>
              </a:tblGrid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LIVE Online Clas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lass Recording in L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24/7 Post Class Suppo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Module Wise Quiz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roject Wor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Verifiable Certifica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3400" y="742950"/>
            <a:ext cx="965632" cy="4114800"/>
            <a:chOff x="533400" y="895350"/>
            <a:chExt cx="965632" cy="4114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33400" y="1610550"/>
              <a:ext cx="853215" cy="50400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762000" y="2296350"/>
              <a:ext cx="720000" cy="504000"/>
              <a:chOff x="5659045" y="1210738"/>
              <a:chExt cx="2153043" cy="1368288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1654" y="1408592"/>
                <a:ext cx="1170434" cy="1170434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659045" y="1210738"/>
                <a:ext cx="1135108" cy="1196016"/>
              </a:xfrm>
              <a:prstGeom prst="rect">
                <a:avLst/>
              </a:prstGeom>
            </p:spPr>
          </p:pic>
        </p:grpSp>
        <p:pic>
          <p:nvPicPr>
            <p:cNvPr id="9" name="Picture 2" descr="http://www.thewellatlentrise.org/img/quiz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3028950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3790950"/>
              <a:ext cx="612000" cy="56052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4398150"/>
              <a:ext cx="737032" cy="612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838200" y="895350"/>
              <a:ext cx="504000" cy="509278"/>
            </a:xfrm>
            <a:prstGeom prst="rect">
              <a:avLst/>
            </a:prstGeom>
          </p:spPr>
        </p:pic>
      </p:grpSp>
      <p:pic>
        <p:nvPicPr>
          <p:cNvPr id="15" name="Picture 7" descr="edureka logol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7306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014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48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8801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3301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3297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9373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9374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4883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630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518446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9100" y="1128714"/>
            <a:ext cx="4457700" cy="363855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1222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912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6440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9629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9589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9482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3579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5261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2465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478356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199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4534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1570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2464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6777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11972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5791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449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932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738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46029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070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/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71311" y="2574648"/>
            <a:ext cx="130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DEMO</a:t>
            </a: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31393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71698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789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271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184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480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7542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454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gn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85" y="555627"/>
            <a:ext cx="6624736" cy="416100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7468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rthe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1" r="3827" b="9027"/>
          <a:stretch/>
        </p:blipFill>
        <p:spPr>
          <a:xfrm>
            <a:off x="4680992" y="1265981"/>
            <a:ext cx="3744416" cy="301325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7137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-work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0065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325" y="698983"/>
            <a:ext cx="5424375" cy="4068281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137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21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2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21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2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ngular-j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83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9" r:id="rId2"/>
    <p:sldLayoutId id="2147483678" r:id="rId3"/>
    <p:sldLayoutId id="2147483663" r:id="rId4"/>
    <p:sldLayoutId id="2147483670" r:id="rId5"/>
    <p:sldLayoutId id="2147483674" r:id="rId6"/>
    <p:sldLayoutId id="2147483672" r:id="rId7"/>
    <p:sldLayoutId id="2147483675" r:id="rId8"/>
    <p:sldLayoutId id="2147483673" r:id="rId9"/>
    <p:sldLayoutId id="2147483671" r:id="rId10"/>
    <p:sldLayoutId id="2147483676" r:id="rId11"/>
    <p:sldLayoutId id="2147483679" r:id="rId12"/>
    <p:sldLayoutId id="2147483680" r:id="rId13"/>
    <p:sldLayoutId id="2147483677" r:id="rId14"/>
    <p:sldLayoutId id="2147483667" r:id="rId15"/>
    <p:sldLayoutId id="2147483668" r:id="rId16"/>
    <p:sldLayoutId id="2147483682" r:id="rId17"/>
    <p:sldLayoutId id="2147483683" r:id="rId18"/>
  </p:sldLayoutIdLst>
  <p:timing>
    <p:tnLst>
      <p:par>
        <p:cTn id="1" dur="indefinite" restart="never" nodeType="tmRoot"/>
      </p:par>
    </p:tnLst>
  </p:timing>
  <p:txStyles>
    <p:titleStyle>
      <a:lvl1pPr algn="l" defTabSz="914378" rtl="0" eaLnBrk="1" latinLnBrk="0" hangingPunct="1">
        <a:spcBef>
          <a:spcPct val="0"/>
        </a:spcBef>
        <a:buNone/>
        <a:defRPr lang="en-US" sz="2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just" defTabSz="914378" rtl="0" eaLnBrk="1" latinLnBrk="0" hangingPunct="1">
        <a:lnSpc>
          <a:spcPct val="150000"/>
        </a:lnSpc>
        <a:spcBef>
          <a:spcPct val="20000"/>
        </a:spcBef>
        <a:buFont typeface="Symbol" panose="05050102010706020507" pitchFamily="18" charset="2"/>
        <a:buChar char="®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85776" indent="-128588" algn="just" defTabSz="914378" rtl="0" eaLnBrk="1" latinLnBrk="0" hangingPunct="1">
        <a:lnSpc>
          <a:spcPct val="150000"/>
        </a:lnSpc>
        <a:spcBef>
          <a:spcPct val="20000"/>
        </a:spcBef>
        <a:buFont typeface="Tahoma" panose="020B0604030504040204" pitchFamily="34" charset="0"/>
        <a:buChar char="»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4378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71566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8754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sz="12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40" userDrawn="1">
          <p15:clr>
            <a:srgbClr val="F26B43"/>
          </p15:clr>
        </p15:guide>
        <p15:guide id="2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598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566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17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547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dureka.co/angular-js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ngularjs.org/api/ng/type/form.FormController" TargetMode="External"/><Relationship Id="rId3" Type="http://schemas.openxmlformats.org/officeDocument/2006/relationships/hyperlink" Target="https://docs.angularjs.org/api/ng/directive/ngApp" TargetMode="External"/><Relationship Id="rId7" Type="http://schemas.openxmlformats.org/officeDocument/2006/relationships/hyperlink" Target="https://docs.angularjs.org/api/ng/directive/form" TargetMode="External"/><Relationship Id="rId2" Type="http://schemas.openxmlformats.org/officeDocument/2006/relationships/hyperlink" Target="https://docs.angularjs.org/api/ng/directive/ngJq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angularjs.org/guide/expression" TargetMode="External"/><Relationship Id="rId5" Type="http://schemas.openxmlformats.org/officeDocument/2006/relationships/hyperlink" Target="https://docs.angularjs.org/api/ng/directive/ngDisabled" TargetMode="External"/><Relationship Id="rId10" Type="http://schemas.openxmlformats.org/officeDocument/2006/relationships/hyperlink" Target="https://docs.angularjs.org/api/ng/directive/ngController" TargetMode="External"/><Relationship Id="rId4" Type="http://schemas.openxmlformats.org/officeDocument/2006/relationships/hyperlink" Target="https://docs.angularjs.org/api/ng/directive/a" TargetMode="External"/><Relationship Id="rId9" Type="http://schemas.openxmlformats.org/officeDocument/2006/relationships/hyperlink" Target="https://docs.angularjs.org/api/ng/directive/ngClass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gif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hyperlink" Target="http://www.madewithangular.com/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71417" y="3104893"/>
            <a:ext cx="762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View </a:t>
            </a:r>
            <a:r>
              <a:rPr lang="en-US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AngularJS course details at </a:t>
            </a: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  <a:hlinkClick r:id="rId2"/>
              </a:rPr>
              <a:t>www.edureka.co/angular-js</a:t>
            </a:r>
            <a:endParaRPr lang="en-US" sz="1400" dirty="0" smtClean="0">
              <a:solidFill>
                <a:schemeClr val="accent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81750" y="2473817"/>
            <a:ext cx="7038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latin typeface="Castellar" panose="020A0402060406010301" pitchFamily="18" charset="0"/>
              </a:rPr>
              <a:t>Getting Started With AngularJS</a:t>
            </a:r>
            <a:endParaRPr lang="en-IN" sz="1800" b="1" dirty="0">
              <a:latin typeface="Castellar" panose="020A04020604060103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93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Features of AngularJS</a:t>
            </a:r>
            <a:endParaRPr lang="en-US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051"/>
          <a:stretch/>
        </p:blipFill>
        <p:spPr>
          <a:xfrm>
            <a:off x="2962300" y="824747"/>
            <a:ext cx="3234224" cy="339159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1028" y="4195320"/>
            <a:ext cx="827588" cy="82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10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6897177" y="3128049"/>
            <a:ext cx="1182" cy="4794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MVC &amp; MVW Way of AngularJ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859258" y="1367933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Mod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657538" y="1338749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View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413330" y="3708028"/>
            <a:ext cx="1108019" cy="56933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871548" y="3708028"/>
            <a:ext cx="1079769" cy="5693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nit Test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5069564" y="3708028"/>
            <a:ext cx="1005649" cy="5693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troller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259578" y="2802042"/>
            <a:ext cx="1261771" cy="5178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ever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6901" y="1457398"/>
            <a:ext cx="827588" cy="827588"/>
          </a:xfrm>
          <a:prstGeom prst="rect">
            <a:avLst/>
          </a:prstGeom>
        </p:spPr>
      </p:pic>
      <p:cxnSp>
        <p:nvCxnSpPr>
          <p:cNvPr id="16" name="Straight Connector 15"/>
          <p:cNvCxnSpPr>
            <a:stCxn id="11" idx="0"/>
            <a:endCxn id="12" idx="1"/>
          </p:cNvCxnSpPr>
          <p:nvPr/>
        </p:nvCxnSpPr>
        <p:spPr>
          <a:xfrm flipV="1">
            <a:off x="5572389" y="3060975"/>
            <a:ext cx="687189" cy="6470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endCxn id="10" idx="0"/>
          </p:cNvCxnSpPr>
          <p:nvPr/>
        </p:nvCxnSpPr>
        <p:spPr>
          <a:xfrm>
            <a:off x="7521349" y="3079489"/>
            <a:ext cx="890084" cy="628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5179808" y="17138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5332208" y="18662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5484608" y="20186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7852092" y="1713858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TML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7852092" y="2023323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SS</a:t>
            </a:r>
            <a:endParaRPr lang="en-US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4543841" y="1278337"/>
            <a:ext cx="10510" cy="309143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1796348" y="731869"/>
            <a:ext cx="1177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VC</a:t>
            </a:r>
            <a:endParaRPr lang="en-US" sz="2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6438339" y="746538"/>
            <a:ext cx="1177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VW</a:t>
            </a:r>
            <a:endParaRPr lang="en-US" sz="2000" b="1" dirty="0"/>
          </a:p>
        </p:txBody>
      </p:sp>
      <p:sp>
        <p:nvSpPr>
          <p:cNvPr id="28" name="Rectangle 27"/>
          <p:cNvSpPr/>
          <p:nvPr/>
        </p:nvSpPr>
        <p:spPr>
          <a:xfrm>
            <a:off x="138238" y="1355263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Model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2936518" y="1326079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View</a:t>
            </a:r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1538789" y="3193812"/>
            <a:ext cx="1261771" cy="122239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/>
              <a:t>Controller</a:t>
            </a:r>
            <a:endParaRPr lang="en-US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5881" y="1444728"/>
            <a:ext cx="827588" cy="827588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458788" y="16914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611188" y="18438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763588" y="19962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3131072" y="1701188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TML</a:t>
            </a:r>
            <a:endParaRPr lang="en-US" dirty="0"/>
          </a:p>
        </p:txBody>
      </p:sp>
      <p:sp>
        <p:nvSpPr>
          <p:cNvPr id="43" name="Rectangle 42"/>
          <p:cNvSpPr/>
          <p:nvPr/>
        </p:nvSpPr>
        <p:spPr>
          <a:xfrm>
            <a:off x="3131072" y="2010653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SS</a:t>
            </a:r>
            <a:endParaRPr lang="en-US" dirty="0"/>
          </a:p>
        </p:txBody>
      </p:sp>
      <p:sp>
        <p:nvSpPr>
          <p:cNvPr id="46" name="Rectangle 45"/>
          <p:cNvSpPr/>
          <p:nvPr/>
        </p:nvSpPr>
        <p:spPr>
          <a:xfrm>
            <a:off x="1657518" y="3488981"/>
            <a:ext cx="1024314" cy="2372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avaScript</a:t>
            </a:r>
            <a:endParaRPr lang="en-US" dirty="0"/>
          </a:p>
        </p:txBody>
      </p:sp>
      <p:sp>
        <p:nvSpPr>
          <p:cNvPr id="47" name="Rectangle 46"/>
          <p:cNvSpPr/>
          <p:nvPr/>
        </p:nvSpPr>
        <p:spPr>
          <a:xfrm>
            <a:off x="1657518" y="4021400"/>
            <a:ext cx="1024314" cy="2372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Services</a:t>
            </a:r>
            <a:endParaRPr lang="en-US" dirty="0"/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0864" y="4053884"/>
            <a:ext cx="170170" cy="170170"/>
          </a:xfrm>
          <a:prstGeom prst="rect">
            <a:avLst/>
          </a:prstGeom>
        </p:spPr>
      </p:pic>
      <p:pic>
        <p:nvPicPr>
          <p:cNvPr id="11266" name="Picture 2" descr="http://www.smsitgroup.com/wp-content/uploads/2014/09/virtual-serv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551" y="3761900"/>
            <a:ext cx="718980" cy="749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2" name="Straight Arrow Connector 51"/>
          <p:cNvCxnSpPr>
            <a:stCxn id="47" idx="3"/>
            <a:endCxn id="11266" idx="1"/>
          </p:cNvCxnSpPr>
          <p:nvPr/>
        </p:nvCxnSpPr>
        <p:spPr>
          <a:xfrm flipV="1">
            <a:off x="2681832" y="4136504"/>
            <a:ext cx="804719" cy="35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422289" y="1856238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34" idx="2"/>
            <a:endCxn id="33" idx="0"/>
          </p:cNvCxnSpPr>
          <p:nvPr/>
        </p:nvCxnSpPr>
        <p:spPr>
          <a:xfrm>
            <a:off x="2169675" y="2272316"/>
            <a:ext cx="0" cy="9214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2537731" y="1852993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6145847" y="1839462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260897" y="1841212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13" idx="2"/>
          </p:cNvCxnSpPr>
          <p:nvPr/>
        </p:nvCxnSpPr>
        <p:spPr>
          <a:xfrm>
            <a:off x="6890695" y="2284986"/>
            <a:ext cx="6482" cy="5099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67" name="TextBox 11266"/>
          <p:cNvSpPr txBox="1"/>
          <p:nvPr/>
        </p:nvSpPr>
        <p:spPr>
          <a:xfrm>
            <a:off x="2169674" y="2519342"/>
            <a:ext cx="1167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 way data binding</a:t>
            </a:r>
            <a:endParaRPr lang="en-US" sz="1000" dirty="0"/>
          </a:p>
        </p:txBody>
      </p:sp>
      <p:sp>
        <p:nvSpPr>
          <p:cNvPr id="68" name="TextBox 67"/>
          <p:cNvSpPr txBox="1"/>
          <p:nvPr/>
        </p:nvSpPr>
        <p:spPr>
          <a:xfrm>
            <a:off x="6853767" y="2459176"/>
            <a:ext cx="1167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 way data binding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25469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66928" y="866978"/>
            <a:ext cx="7897068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ives: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directive is a function that executes</a:t>
            </a:r>
          </a:p>
          <a:p>
            <a:pPr defTabSz="685783"/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r>
              <a:rPr lang="en-I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pressions: 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pressions are </a:t>
            </a:r>
            <a:r>
              <a:rPr lang="en-IN" sz="1200" dirty="0" err="1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vascript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ode snippets</a:t>
            </a:r>
          </a:p>
          <a:p>
            <a:pPr defTabSz="685783"/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r>
              <a:rPr lang="en-I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ms: 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ms and inputs provide validation services</a:t>
            </a:r>
          </a:p>
          <a:p>
            <a:pPr defTabSz="685783"/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r>
              <a:rPr lang="en-I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dules: 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vide a means to specify how an application is started</a:t>
            </a:r>
          </a:p>
          <a:p>
            <a:pPr defTabSz="685783"/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r>
              <a:rPr lang="en-I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uting: 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uting provides a mechanism for linking URL’s to controllers and views</a:t>
            </a:r>
          </a:p>
          <a:p>
            <a:pPr defTabSz="685783"/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r>
              <a:rPr lang="en-I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ope: 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ope refers to the application model. It establishes a connection between application controller and view</a:t>
            </a:r>
          </a:p>
          <a:p>
            <a:pPr defTabSz="685783"/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r>
              <a:rPr lang="en-I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lters: 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lters provide a means to format data before displaying them</a:t>
            </a:r>
          </a:p>
          <a:p>
            <a:pPr defTabSz="685783"/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1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</a:t>
            </a:r>
            <a:r>
              <a:rPr lang="en-US" dirty="0" smtClean="0"/>
              <a:t>Key Ter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45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0469" y="770918"/>
            <a:ext cx="34925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4554" y="1387002"/>
            <a:ext cx="6812725" cy="2552700"/>
          </a:xfrm>
          <a:prstGeom prst="rect">
            <a:avLst/>
          </a:prstGeom>
        </p:spPr>
      </p:pic>
      <p:sp>
        <p:nvSpPr>
          <p:cNvPr id="6" name="Rectangular Callout 5"/>
          <p:cNvSpPr/>
          <p:nvPr/>
        </p:nvSpPr>
        <p:spPr>
          <a:xfrm>
            <a:off x="5570916" y="935935"/>
            <a:ext cx="1587062" cy="714703"/>
          </a:xfrm>
          <a:prstGeom prst="wedgeRectCallout">
            <a:avLst>
              <a:gd name="adj1" fmla="val -54608"/>
              <a:gd name="adj2" fmla="val 772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r>
              <a:rPr lang="en-IN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lude AngularJS</a:t>
            </a:r>
          </a:p>
        </p:txBody>
      </p:sp>
    </p:spTree>
    <p:extLst>
      <p:ext uri="{BB962C8B-B14F-4D97-AF65-F5344CB8AC3E}">
        <p14:creationId xmlns:p14="http://schemas.microsoft.com/office/powerpoint/2010/main" val="4292976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0469" y="770918"/>
            <a:ext cx="34925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4554" y="1387002"/>
            <a:ext cx="6812725" cy="2552700"/>
          </a:xfrm>
          <a:prstGeom prst="rect">
            <a:avLst/>
          </a:prstGeom>
        </p:spPr>
      </p:pic>
      <p:sp>
        <p:nvSpPr>
          <p:cNvPr id="4" name="Rectangular Callout 3"/>
          <p:cNvSpPr/>
          <p:nvPr/>
        </p:nvSpPr>
        <p:spPr>
          <a:xfrm>
            <a:off x="340469" y="2196949"/>
            <a:ext cx="1629103" cy="704557"/>
          </a:xfrm>
          <a:prstGeom prst="wedgeRectCallout">
            <a:avLst>
              <a:gd name="adj1" fmla="val 79813"/>
              <a:gd name="adj2" fmla="val -404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. Bootstrap </a:t>
            </a:r>
            <a:r>
              <a:rPr lang="en-US" dirty="0"/>
              <a:t>the App</a:t>
            </a:r>
          </a:p>
        </p:txBody>
      </p:sp>
    </p:spTree>
    <p:extLst>
      <p:ext uri="{BB962C8B-B14F-4D97-AF65-F5344CB8AC3E}">
        <p14:creationId xmlns:p14="http://schemas.microsoft.com/office/powerpoint/2010/main" val="37758846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0469" y="770918"/>
            <a:ext cx="34925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4554" y="1387002"/>
            <a:ext cx="6812725" cy="2552700"/>
          </a:xfrm>
          <a:prstGeom prst="rect">
            <a:avLst/>
          </a:prstGeom>
        </p:spPr>
      </p:pic>
      <p:sp>
        <p:nvSpPr>
          <p:cNvPr id="4" name="Rectangular Callout 3"/>
          <p:cNvSpPr/>
          <p:nvPr/>
        </p:nvSpPr>
        <p:spPr>
          <a:xfrm>
            <a:off x="606125" y="2948694"/>
            <a:ext cx="1292773" cy="567558"/>
          </a:xfrm>
          <a:prstGeom prst="wedgeRectCallout">
            <a:avLst>
              <a:gd name="adj1" fmla="val 124695"/>
              <a:gd name="adj2" fmla="val -12824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. Create </a:t>
            </a:r>
            <a:r>
              <a:rPr lang="en-US" dirty="0"/>
              <a:t>the Controller</a:t>
            </a:r>
          </a:p>
        </p:txBody>
      </p:sp>
    </p:spTree>
    <p:extLst>
      <p:ext uri="{BB962C8B-B14F-4D97-AF65-F5344CB8AC3E}">
        <p14:creationId xmlns:p14="http://schemas.microsoft.com/office/powerpoint/2010/main" val="635631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0469" y="770918"/>
            <a:ext cx="34925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4554" y="1387002"/>
            <a:ext cx="6812725" cy="2552700"/>
          </a:xfrm>
          <a:prstGeom prst="rect">
            <a:avLst/>
          </a:prstGeom>
        </p:spPr>
      </p:pic>
      <p:sp>
        <p:nvSpPr>
          <p:cNvPr id="4" name="Rectangular Callout 3"/>
          <p:cNvSpPr/>
          <p:nvPr/>
        </p:nvSpPr>
        <p:spPr>
          <a:xfrm>
            <a:off x="340469" y="3090042"/>
            <a:ext cx="1450427" cy="588579"/>
          </a:xfrm>
          <a:prstGeom prst="wedgeRectCallout">
            <a:avLst>
              <a:gd name="adj1" fmla="val 111776"/>
              <a:gd name="adj2" fmla="val 714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. Create </a:t>
            </a:r>
            <a:r>
              <a:rPr lang="en-US" dirty="0"/>
              <a:t>the View</a:t>
            </a:r>
          </a:p>
        </p:txBody>
      </p:sp>
    </p:spTree>
    <p:extLst>
      <p:ext uri="{BB962C8B-B14F-4D97-AF65-F5344CB8AC3E}">
        <p14:creationId xmlns:p14="http://schemas.microsoft.com/office/powerpoint/2010/main" val="35225138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AngularJS Directives</a:t>
            </a:r>
            <a:endParaRPr lang="en-US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868136"/>
            <a:ext cx="8267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ü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he process of rendering of HTML inside the AngularJS application are controlled by Directives </a:t>
            </a:r>
            <a:endParaRPr lang="en-US" dirty="0" smtClean="0"/>
          </a:p>
          <a:p>
            <a:endParaRPr lang="en-US" dirty="0"/>
          </a:p>
          <a:p>
            <a:r>
              <a:rPr lang="en-US" dirty="0"/>
              <a:t>Directives guide the HTML compiler to control the DOM elements by attaching specific behavior to the elemen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283" y="2007112"/>
            <a:ext cx="6812725" cy="2552700"/>
          </a:xfrm>
          <a:prstGeom prst="rect">
            <a:avLst/>
          </a:prstGeom>
        </p:spPr>
      </p:pic>
      <p:sp>
        <p:nvSpPr>
          <p:cNvPr id="5" name="Rectangular Callout 4"/>
          <p:cNvSpPr/>
          <p:nvPr/>
        </p:nvSpPr>
        <p:spPr>
          <a:xfrm>
            <a:off x="2585545" y="1664653"/>
            <a:ext cx="1324303" cy="493986"/>
          </a:xfrm>
          <a:prstGeom prst="wedgeRectCallout">
            <a:avLst>
              <a:gd name="adj1" fmla="val -85119"/>
              <a:gd name="adj2" fmla="val 17526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  <p:sp>
        <p:nvSpPr>
          <p:cNvPr id="6" name="Rectangular Callout 5"/>
          <p:cNvSpPr/>
          <p:nvPr/>
        </p:nvSpPr>
        <p:spPr>
          <a:xfrm>
            <a:off x="4591050" y="3414625"/>
            <a:ext cx="1324303" cy="493986"/>
          </a:xfrm>
          <a:prstGeom prst="wedgeRectCallout">
            <a:avLst>
              <a:gd name="adj1" fmla="val -200992"/>
              <a:gd name="adj2" fmla="val 6037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97361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t in </a:t>
            </a:r>
            <a:r>
              <a:rPr lang="en-US" dirty="0" smtClean="0"/>
              <a:t>Directive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691367"/>
              </p:ext>
            </p:extLst>
          </p:nvPr>
        </p:nvGraphicFramePr>
        <p:xfrm>
          <a:off x="646384" y="741637"/>
          <a:ext cx="7855585" cy="37423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04900"/>
                <a:gridCol w="6750685"/>
              </a:tblGrid>
              <a:tr h="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crip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536257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2"/>
                        </a:rPr>
                        <a:t>ngJq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 this directive to force the angular.element library. This should be used to force either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lite 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y leaving ng-</a:t>
                      </a:r>
                      <a:r>
                        <a:rPr lang="en-US" sz="1200" b="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blank or setting the name of the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uery 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ariable under window (</a:t>
                      </a:r>
                      <a:r>
                        <a:rPr lang="en-US" sz="1200" b="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g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jQuery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3"/>
                        </a:rPr>
                        <a:t>ngApp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 this directive to auto-bootstrap an AngularJS application. The ngApp directive designates the root elementof the application and is typically placed near the root element of the page - e.g. on the &lt;body&gt; or &lt;html&gt; 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gs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4"/>
                        </a:rPr>
                        <a:t>a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difies the default behavior of the html A tag so that the default action is prevented when the href attribute is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mpty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5"/>
                        </a:rPr>
                        <a:t>ngDisabled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is directive sets the disabled attribute on the element if</a:t>
                      </a:r>
                      <a:r>
                        <a:rPr lang="en-US" sz="1200" b="0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</a:t>
                      </a:r>
                      <a:r>
                        <a:rPr lang="en-US" sz="1200" b="0" u="sng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6"/>
                        </a:rPr>
                        <a:t>expression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inside ngDisabled evaluates to truthy</a:t>
                      </a: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6162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7"/>
                        </a:rPr>
                        <a:t>form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rective that instantiates 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8"/>
                        </a:rPr>
                        <a:t>FormControll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9"/>
                        </a:rPr>
                        <a:t>ngClass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</a:t>
                      </a: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gClass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directive allows you to dynamically set CSS classes on an HTML element by databinding an expression that represents all classes to be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dded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10"/>
                        </a:rPr>
                        <a:t>ngControll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ngController directive attaches a controller class to the view. This is a key aspect of how angular supports the principles behind the Model-View-Controller design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ttern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370615" y="4699415"/>
            <a:ext cx="7411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buFont typeface="Symbol" panose="05050102010706020507" pitchFamily="18" charset="2"/>
              <a:buChar char="®"/>
            </a:pP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rest of the directives </a:t>
            </a:r>
            <a:r>
              <a:rPr lang="en-IN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fer https://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cs.angularjs.org/api/ng/directive</a:t>
            </a: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379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 </a:t>
            </a:r>
            <a:r>
              <a:rPr lang="en-US" dirty="0" smtClean="0"/>
              <a:t>Fil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1489" y="1002762"/>
            <a:ext cx="4556234" cy="3513269"/>
          </a:xfrm>
          <a:noFill/>
        </p:spPr>
        <p:txBody>
          <a:bodyPr wrap="square" rtlCol="0">
            <a:spAutoFit/>
          </a:bodyPr>
          <a:lstStyle/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It formats </a:t>
            </a:r>
            <a:r>
              <a:rPr lang="en-US" dirty="0"/>
              <a:t>the value of an expression for display to the </a:t>
            </a:r>
            <a:r>
              <a:rPr lang="en-US" dirty="0" smtClean="0"/>
              <a:t>user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Filters </a:t>
            </a:r>
            <a:r>
              <a:rPr lang="en-US" dirty="0"/>
              <a:t>in view templates can be used with the following </a:t>
            </a:r>
            <a:r>
              <a:rPr lang="en-US" dirty="0"/>
              <a:t>syntax</a:t>
            </a:r>
            <a:endParaRPr lang="en-US" dirty="0"/>
          </a:p>
          <a:p>
            <a:pPr marL="342900" lvl="1" algn="l" defTabSz="685800"/>
            <a:r>
              <a:rPr lang="en-US" sz="135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{{ </a:t>
            </a:r>
            <a:r>
              <a:rPr lang="en-US" sz="135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expression | filter </a:t>
            </a:r>
            <a:r>
              <a:rPr lang="en-US" sz="1350" dirty="0" smtClean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}}</a:t>
            </a:r>
          </a:p>
          <a:p>
            <a:pPr marL="342900" lvl="1" algn="l" defTabSz="685800"/>
            <a:endParaRPr lang="en-US" sz="1350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Filters are generally injected when used with </a:t>
            </a:r>
            <a:r>
              <a:rPr lang="en-US" dirty="0"/>
              <a:t>controllers, services </a:t>
            </a:r>
            <a:r>
              <a:rPr lang="en-US" dirty="0"/>
              <a:t>and </a:t>
            </a:r>
            <a:r>
              <a:rPr lang="en-US" dirty="0" smtClean="0"/>
              <a:t>directives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With filters data can be organized to meet certain </a:t>
            </a:r>
            <a:r>
              <a:rPr lang="en-US" dirty="0"/>
              <a:t>criteria</a:t>
            </a: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827986" y="1059069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28588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Symbol" panose="05050102010706020507" pitchFamily="18" charset="2"/>
              <a:buChar char="®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sz="12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UpperCase</a:t>
            </a:r>
          </a:p>
          <a:p>
            <a:endParaRPr lang="en-US" smtClean="0"/>
          </a:p>
          <a:p>
            <a:endParaRPr lang="en-US" smtClean="0"/>
          </a:p>
          <a:p>
            <a:r>
              <a:rPr lang="en-US" smtClean="0"/>
              <a:t>LowerCase</a:t>
            </a:r>
          </a:p>
          <a:p>
            <a:endParaRPr lang="en-US" smtClean="0"/>
          </a:p>
          <a:p>
            <a:pPr marL="0" indent="0">
              <a:buFont typeface="Symbol" panose="05050102010706020507" pitchFamily="18" charset="2"/>
              <a:buNone/>
            </a:pPr>
            <a:endParaRPr lang="en-US" smtClean="0"/>
          </a:p>
          <a:p>
            <a:r>
              <a:rPr lang="en-US" smtClean="0"/>
              <a:t>Currency</a:t>
            </a:r>
          </a:p>
          <a:p>
            <a:pPr marL="0" indent="0">
              <a:buFont typeface="Symbol" panose="05050102010706020507" pitchFamily="18" charset="2"/>
              <a:buNone/>
            </a:pPr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5847036" y="1469230"/>
            <a:ext cx="2284954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entity.name() | uppercase}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827986" y="3325664"/>
            <a:ext cx="2618329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</a:t>
            </a:r>
            <a:r>
              <a:rPr lang="en-US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tity.amount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) | currency}}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827986" y="2397447"/>
            <a:ext cx="2284954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entity.name() | lowercase}}</a:t>
            </a:r>
          </a:p>
        </p:txBody>
      </p:sp>
    </p:spTree>
    <p:extLst>
      <p:ext uri="{BB962C8B-B14F-4D97-AF65-F5344CB8AC3E}">
        <p14:creationId xmlns:p14="http://schemas.microsoft.com/office/powerpoint/2010/main" val="3497847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984244" y="981522"/>
            <a:ext cx="4885464" cy="3960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should we us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is AngularJ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g Brands Using AngularJ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Features</a:t>
            </a: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MVC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amp; MVW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chitectu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ic AngularJS Program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ives and Filters</a:t>
            </a: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is Single Page Applic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 to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ponsiv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gle Page Applic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endParaRPr lang="en-US" sz="12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ü"/>
            </a:pPr>
            <a:endParaRPr lang="en-US" sz="12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5612524" y="137050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5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146959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460" y="234000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765" y="234000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316838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101"/>
          <p:cNvGrpSpPr>
            <a:grpSpLocks/>
          </p:cNvGrpSpPr>
          <p:nvPr/>
        </p:nvGrpSpPr>
        <p:grpSpPr>
          <a:xfrm>
            <a:off x="6567300" y="222438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0" name="Group 9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2" name="Freeform 11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1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Oval 13"/>
          <p:cNvSpPr/>
          <p:nvPr/>
        </p:nvSpPr>
        <p:spPr>
          <a:xfrm>
            <a:off x="5541269" y="128979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5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837" y="233778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will you learn toda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1011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 T</a:t>
            </a:r>
            <a:r>
              <a:rPr lang="en-US" dirty="0" smtClean="0"/>
              <a:t>y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683264"/>
          </a:xfr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Generally used filter </a:t>
            </a:r>
            <a:r>
              <a:rPr lang="en-US" dirty="0"/>
              <a:t>types</a:t>
            </a: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57200" y="1324276"/>
          <a:ext cx="7465687" cy="3363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5542"/>
                <a:gridCol w="5460145"/>
              </a:tblGrid>
              <a:tr h="209249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        </a:t>
                      </a:r>
                    </a:p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m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</a:t>
                      </a:r>
                    </a:p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g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upp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hange case of string to upp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low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hange case of string to low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urrenc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string to currency format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numb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numerical valu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son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Json representation 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t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t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ilt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ilter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array based on criteria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rderB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Orders array based in criteria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imitTo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Limits number of  objects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546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Page Application</a:t>
            </a:r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770856"/>
            <a:ext cx="7886700" cy="1551194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285750" indent="-28575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Single-Page Applications (SPAs) are Web apps that load a </a:t>
            </a:r>
            <a:r>
              <a:rPr lang="en-US" dirty="0">
                <a:solidFill>
                  <a:srgbClr val="0070C0"/>
                </a:solidFill>
              </a:rPr>
              <a:t>single HTML page</a:t>
            </a:r>
            <a:r>
              <a:rPr lang="en-US" dirty="0"/>
              <a:t> </a:t>
            </a:r>
            <a:r>
              <a:rPr lang="en-US" dirty="0">
                <a:solidFill>
                  <a:srgbClr val="0070C0"/>
                </a:solidFill>
              </a:rPr>
              <a:t>and dynamically update </a:t>
            </a:r>
            <a:r>
              <a:rPr lang="en-US" dirty="0"/>
              <a:t>that page as the user interacts with the </a:t>
            </a:r>
            <a:r>
              <a:rPr lang="en-US" dirty="0" smtClean="0"/>
              <a:t>app</a:t>
            </a:r>
          </a:p>
          <a:p>
            <a:endParaRPr lang="en-US" dirty="0"/>
          </a:p>
          <a:p>
            <a:r>
              <a:rPr lang="en-US" dirty="0"/>
              <a:t>In a Single Page Application or SPA the page </a:t>
            </a:r>
            <a:r>
              <a:rPr lang="en-US" dirty="0">
                <a:solidFill>
                  <a:srgbClr val="0070C0"/>
                </a:solidFill>
              </a:rPr>
              <a:t>never reloads</a:t>
            </a:r>
            <a:r>
              <a:rPr lang="en-US" dirty="0"/>
              <a:t>, though parts of the page may refresh. This reduces the round trips to the server to a minimum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192" y="2666593"/>
            <a:ext cx="2476907" cy="247690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40235" y="2451148"/>
            <a:ext cx="1060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lient Side Routing</a:t>
            </a:r>
            <a:endParaRPr lang="en-US" sz="11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420645" y="2451149"/>
            <a:ext cx="1060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lient Side Rendering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311672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To Build Responsive SPA Using AngularJS ?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49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50" smtClean="0"/>
              <a:t>Building Highly Responsive Single Page Application </a:t>
            </a:r>
            <a:endParaRPr lang="en-US" sz="255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780670"/>
            <a:ext cx="8297186" cy="445044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IN" dirty="0" err="1">
                <a:solidFill>
                  <a:srgbClr val="0070C0"/>
                </a:solidFill>
              </a:rPr>
              <a:t>Usecase</a:t>
            </a:r>
            <a:r>
              <a:rPr lang="en-IN" dirty="0">
                <a:solidFill>
                  <a:srgbClr val="0070C0"/>
                </a:solidFill>
              </a:rPr>
              <a:t> </a:t>
            </a:r>
            <a:r>
              <a:rPr lang="en-IN" dirty="0"/>
              <a:t>: Build a User Management Application</a:t>
            </a:r>
          </a:p>
          <a:p>
            <a:r>
              <a:rPr lang="en-IN" dirty="0">
                <a:solidFill>
                  <a:srgbClr val="0070C0"/>
                </a:solidFill>
              </a:rPr>
              <a:t>Prerequisite</a:t>
            </a:r>
            <a:r>
              <a:rPr lang="en-IN" dirty="0"/>
              <a:t> :</a:t>
            </a:r>
          </a:p>
          <a:p>
            <a:pPr lvl="1"/>
            <a:r>
              <a:rPr lang="en-IN" dirty="0"/>
              <a:t>Text Editor (sublime or </a:t>
            </a:r>
            <a:r>
              <a:rPr lang="en-IN" dirty="0" err="1"/>
              <a:t>notepadd</a:t>
            </a:r>
            <a:r>
              <a:rPr lang="en-IN" dirty="0"/>
              <a:t> ++)</a:t>
            </a:r>
          </a:p>
          <a:p>
            <a:pPr lvl="1"/>
            <a:r>
              <a:rPr lang="en-IN" dirty="0"/>
              <a:t>Latest browser (Firefox or Chrome)</a:t>
            </a:r>
          </a:p>
          <a:p>
            <a:pPr lvl="1"/>
            <a:r>
              <a:rPr lang="en-IN" dirty="0"/>
              <a:t>Installed </a:t>
            </a:r>
            <a:r>
              <a:rPr lang="en-IN" dirty="0" err="1"/>
              <a:t>NodeJS</a:t>
            </a:r>
            <a:r>
              <a:rPr lang="en-IN" dirty="0"/>
              <a:t> (server)</a:t>
            </a:r>
          </a:p>
          <a:p>
            <a:pPr lvl="1"/>
            <a:r>
              <a:rPr lang="en-IN" dirty="0"/>
              <a:t>Mongo (To store </a:t>
            </a:r>
            <a:r>
              <a:rPr lang="en-IN" dirty="0" err="1"/>
              <a:t>userinfo</a:t>
            </a:r>
            <a:r>
              <a:rPr lang="en-IN" dirty="0"/>
              <a:t>)</a:t>
            </a:r>
          </a:p>
          <a:p>
            <a:r>
              <a:rPr lang="en-IN" dirty="0">
                <a:solidFill>
                  <a:srgbClr val="0070C0"/>
                </a:solidFill>
              </a:rPr>
              <a:t>Project Specifications </a:t>
            </a:r>
            <a:r>
              <a:rPr lang="en-IN" dirty="0"/>
              <a:t>:</a:t>
            </a:r>
          </a:p>
          <a:p>
            <a:pPr lvl="1"/>
            <a:r>
              <a:rPr lang="en-IN" dirty="0"/>
              <a:t>Login to the Application</a:t>
            </a:r>
          </a:p>
          <a:p>
            <a:pPr lvl="1"/>
            <a:r>
              <a:rPr lang="en-IN" dirty="0"/>
              <a:t>Create a new user</a:t>
            </a:r>
          </a:p>
          <a:p>
            <a:pPr lvl="1"/>
            <a:r>
              <a:rPr lang="en-IN" dirty="0"/>
              <a:t>View Users List</a:t>
            </a:r>
          </a:p>
          <a:p>
            <a:pPr lvl="1"/>
            <a:r>
              <a:rPr lang="en-IN" dirty="0"/>
              <a:t>Update a existing user</a:t>
            </a:r>
          </a:p>
          <a:p>
            <a:pPr lvl="1"/>
            <a:r>
              <a:rPr lang="en-IN" dirty="0"/>
              <a:t>Delete user</a:t>
            </a:r>
          </a:p>
          <a:p>
            <a:pPr lvl="1"/>
            <a:r>
              <a:rPr lang="en-IN" dirty="0" err="1"/>
              <a:t>Signout</a:t>
            </a:r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3460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>
                <a:latin typeface="Calibri" panose="020F0502020204030204" pitchFamily="34" charset="0"/>
              </a:rPr>
              <a:t>Certifications 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94842" y="886705"/>
            <a:ext cx="6531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Get certified in AngularJS by </a:t>
            </a:r>
            <a:r>
              <a:rPr lang="en-US" sz="1400" b="1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5" name="Round Diagonal Corner Rectangle 4"/>
          <p:cNvSpPr/>
          <p:nvPr/>
        </p:nvSpPr>
        <p:spPr>
          <a:xfrm>
            <a:off x="341593" y="2438920"/>
            <a:ext cx="8539760" cy="2240084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en-US" sz="1200" b="1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Edureka's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en-US" sz="12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AngularJS course: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It covers the fundamental concepts like directives, routes, filters, services and factors which helps to build rich user interface web applications in AngularJS.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It helps you boost your web development skills and become a sought after SPA (single page application) developer. You will learn the highly efficient Angular features like data binding, scope management, form validation, routing, i18n &amp; lot more.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Get </a:t>
            </a: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o work 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on a To-Do List App Project </a:t>
            </a: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owards the end of the course, which gives you complete insights on </a:t>
            </a:r>
            <a:r>
              <a:rPr lang="en-US" sz="1200" smtClean="0">
                <a:solidFill>
                  <a:prstClr val="black"/>
                </a:solidFill>
                <a:latin typeface="Calibri" panose="020F0502020204030204" pitchFamily="34" charset="0"/>
              </a:rPr>
              <a:t>the Node.js framework.</a:t>
            </a:r>
            <a:endParaRPr lang="en-US" sz="1200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Online Live Courses: 21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Assignments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561897" y="1431801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www.edureka.co/angular-js 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445307" y="2088235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</a:t>
            </a: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24</a:t>
            </a:r>
            <a:r>
              <a:rPr lang="en-US" sz="1400" i="1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th</a:t>
            </a: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 </a:t>
            </a: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October (Weekend)</a:t>
            </a:r>
          </a:p>
        </p:txBody>
      </p:sp>
      <p:pic>
        <p:nvPicPr>
          <p:cNvPr id="8" name="Picture 7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729411" y="766497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8851177"/>
      </p:ext>
    </p:extLst>
  </p:cSld>
  <p:clrMapOvr>
    <a:masterClrMapping/>
  </p:clrMapOvr>
  <p:transition spd="slow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ank You</a:t>
            </a:r>
          </a:p>
          <a:p>
            <a:pPr defTabSz="457200"/>
            <a:endParaRPr lang="en-US" sz="32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3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/Queries/Feedback</a:t>
            </a:r>
          </a:p>
          <a:p>
            <a:pPr defTabSz="457200"/>
            <a:endParaRPr lang="en-US" sz="3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endParaRPr lang="en-US" sz="20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20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rding </a:t>
            </a: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presentation will be made available to you within 24 hours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7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y AngularJS ?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13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loud 1"/>
          <p:cNvSpPr/>
          <p:nvPr/>
        </p:nvSpPr>
        <p:spPr>
          <a:xfrm>
            <a:off x="5921714" y="1271901"/>
            <a:ext cx="2431915" cy="1332690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Enables 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Parallel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 Development</a:t>
            </a:r>
          </a:p>
        </p:txBody>
      </p:sp>
      <p:sp>
        <p:nvSpPr>
          <p:cNvPr id="3" name="Cloud 2"/>
          <p:cNvSpPr/>
          <p:nvPr/>
        </p:nvSpPr>
        <p:spPr>
          <a:xfrm>
            <a:off x="3489799" y="1868532"/>
            <a:ext cx="2431915" cy="1332690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Supports Single Page Applications</a:t>
            </a:r>
          </a:p>
        </p:txBody>
      </p:sp>
      <p:sp>
        <p:nvSpPr>
          <p:cNvPr id="4" name="Cloud 3"/>
          <p:cNvSpPr/>
          <p:nvPr/>
        </p:nvSpPr>
        <p:spPr>
          <a:xfrm>
            <a:off x="738086" y="3068267"/>
            <a:ext cx="1952018" cy="1037616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Write less code</a:t>
            </a:r>
          </a:p>
        </p:txBody>
      </p:sp>
      <p:sp>
        <p:nvSpPr>
          <p:cNvPr id="6" name="Cloud 5"/>
          <p:cNvSpPr/>
          <p:nvPr/>
        </p:nvSpPr>
        <p:spPr>
          <a:xfrm>
            <a:off x="6919608" y="3026933"/>
            <a:ext cx="1679643" cy="1037617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Unit testing ready</a:t>
            </a:r>
          </a:p>
        </p:txBody>
      </p:sp>
      <p:sp>
        <p:nvSpPr>
          <p:cNvPr id="7" name="Cloud 6"/>
          <p:cNvSpPr/>
          <p:nvPr/>
        </p:nvSpPr>
        <p:spPr>
          <a:xfrm>
            <a:off x="3761361" y="3487375"/>
            <a:ext cx="2234119" cy="1154350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You can create custom HTML elements and attributes</a:t>
            </a:r>
            <a:endParaRPr 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Cloud 7"/>
          <p:cNvSpPr/>
          <p:nvPr/>
        </p:nvSpPr>
        <p:spPr>
          <a:xfrm>
            <a:off x="964661" y="1055878"/>
            <a:ext cx="2431915" cy="1332690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Has 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a Declarative User </a:t>
            </a:r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Interface as it uses HTML  for UI</a:t>
            </a:r>
            <a:endParaRPr 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y </a:t>
            </a:r>
            <a:r>
              <a:rPr lang="en-US" dirty="0" smtClean="0"/>
              <a:t>AngularJ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45379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684" y="735469"/>
            <a:ext cx="1989507" cy="1989507"/>
          </a:xfrm>
          <a:prstGeom prst="rect">
            <a:avLst/>
          </a:prstGeom>
        </p:spPr>
      </p:pic>
      <p:sp>
        <p:nvSpPr>
          <p:cNvPr id="2" name="Cloud 1"/>
          <p:cNvSpPr/>
          <p:nvPr/>
        </p:nvSpPr>
        <p:spPr>
          <a:xfrm>
            <a:off x="5465323" y="2893578"/>
            <a:ext cx="2431915" cy="1332690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Enables Massively 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Parallel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 Development</a:t>
            </a:r>
          </a:p>
        </p:txBody>
      </p:sp>
      <p:sp>
        <p:nvSpPr>
          <p:cNvPr id="3" name="Cloud 2"/>
          <p:cNvSpPr/>
          <p:nvPr/>
        </p:nvSpPr>
        <p:spPr>
          <a:xfrm>
            <a:off x="3489799" y="2604591"/>
            <a:ext cx="2431915" cy="1332690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Supports Single Page Applications</a:t>
            </a:r>
          </a:p>
        </p:txBody>
      </p:sp>
      <p:sp>
        <p:nvSpPr>
          <p:cNvPr id="4" name="Cloud 3"/>
          <p:cNvSpPr/>
          <p:nvPr/>
        </p:nvSpPr>
        <p:spPr>
          <a:xfrm>
            <a:off x="2276273" y="3975380"/>
            <a:ext cx="1952018" cy="1037616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Write less code</a:t>
            </a:r>
          </a:p>
        </p:txBody>
      </p:sp>
      <p:sp>
        <p:nvSpPr>
          <p:cNvPr id="6" name="Cloud 5"/>
          <p:cNvSpPr/>
          <p:nvPr/>
        </p:nvSpPr>
        <p:spPr>
          <a:xfrm>
            <a:off x="5353454" y="4105883"/>
            <a:ext cx="1679643" cy="1037617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Unit testing ready</a:t>
            </a:r>
          </a:p>
        </p:txBody>
      </p:sp>
      <p:sp>
        <p:nvSpPr>
          <p:cNvPr id="7" name="Cloud 6"/>
          <p:cNvSpPr/>
          <p:nvPr/>
        </p:nvSpPr>
        <p:spPr>
          <a:xfrm>
            <a:off x="3761361" y="3487375"/>
            <a:ext cx="2234119" cy="1154350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You can create custom HTML elements and attributes</a:t>
            </a:r>
            <a:endParaRPr 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Cloud 7"/>
          <p:cNvSpPr/>
          <p:nvPr/>
        </p:nvSpPr>
        <p:spPr>
          <a:xfrm>
            <a:off x="1548320" y="3011137"/>
            <a:ext cx="2431915" cy="1332690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Have a Declarative User </a:t>
            </a:r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Interface as it used HTML  for UI</a:t>
            </a:r>
            <a:endParaRPr 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y </a:t>
            </a:r>
            <a:r>
              <a:rPr lang="en-US" dirty="0" smtClean="0"/>
              <a:t>AngularJ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36500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is AngularJS ?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411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is AngularJS?</a:t>
            </a:r>
            <a:endParaRPr lang="en-US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550869" y="2843522"/>
            <a:ext cx="41342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ü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 err="1"/>
              <a:t>OpenSource</a:t>
            </a:r>
            <a:r>
              <a:rPr lang="en-US" dirty="0"/>
              <a:t> </a:t>
            </a:r>
            <a:r>
              <a:rPr lang="en-US" dirty="0">
                <a:solidFill>
                  <a:srgbClr val="0070C0"/>
                </a:solidFill>
              </a:rPr>
              <a:t>client side JavaScript </a:t>
            </a:r>
            <a:r>
              <a:rPr lang="en-US" dirty="0"/>
              <a:t>framework created by </a:t>
            </a:r>
            <a:r>
              <a:rPr lang="en-US" dirty="0" smtClean="0">
                <a:solidFill>
                  <a:srgbClr val="0070C0"/>
                </a:solidFill>
              </a:rPr>
              <a:t>Google</a:t>
            </a:r>
          </a:p>
          <a:p>
            <a:endParaRPr lang="en-US" dirty="0"/>
          </a:p>
          <a:p>
            <a:r>
              <a:rPr lang="en-US" dirty="0"/>
              <a:t>A framework for creating </a:t>
            </a:r>
            <a:r>
              <a:rPr lang="en-US" dirty="0">
                <a:solidFill>
                  <a:srgbClr val="0070C0"/>
                </a:solidFill>
              </a:rPr>
              <a:t>dynamic web </a:t>
            </a:r>
            <a:r>
              <a:rPr lang="en-US" dirty="0" smtClean="0">
                <a:solidFill>
                  <a:srgbClr val="0070C0"/>
                </a:solidFill>
              </a:rPr>
              <a:t>applications</a:t>
            </a:r>
          </a:p>
          <a:p>
            <a:endParaRPr lang="en-US" dirty="0"/>
          </a:p>
          <a:p>
            <a:r>
              <a:rPr lang="en-US" dirty="0"/>
              <a:t>Best suited for </a:t>
            </a:r>
            <a:r>
              <a:rPr lang="en-US" dirty="0">
                <a:solidFill>
                  <a:srgbClr val="0070C0"/>
                </a:solidFill>
              </a:rPr>
              <a:t>Single Page Application</a:t>
            </a:r>
            <a:endParaRPr lang="en-US" dirty="0">
              <a:solidFill>
                <a:srgbClr val="0070C0"/>
              </a:solidFill>
            </a:endParaRPr>
          </a:p>
        </p:txBody>
      </p:sp>
      <p:pic>
        <p:nvPicPr>
          <p:cNvPr id="19" name="Picture 2" descr="http://i.ytimg.com/vi/4EVBg1pNdtc/maxresdefaul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4672" y="1114096"/>
            <a:ext cx="3475423" cy="195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5083897" y="3421641"/>
            <a:ext cx="38369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was originally developed in 2009 by </a:t>
            </a:r>
            <a:r>
              <a:rPr lang="en-US" sz="1200" b="1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sko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very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am </a:t>
            </a:r>
            <a:r>
              <a:rPr lang="en-US" sz="1200" b="1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brons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 Brat Tech LLC, firstly named as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tAngular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85352" y="1271918"/>
            <a:ext cx="3082152" cy="1117409"/>
            <a:chOff x="2951226" y="2627505"/>
            <a:chExt cx="3318601" cy="119106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00815" y="2627505"/>
              <a:ext cx="3019425" cy="933450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2951226" y="3510793"/>
              <a:ext cx="331860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&lt;html&gt; enhanced for web applications </a:t>
              </a:r>
              <a:endParaRPr lang="en-US" sz="14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882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Big Brands Using AngularJS</a:t>
            </a:r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057" y="852457"/>
            <a:ext cx="1292940" cy="481023"/>
          </a:xfrm>
          <a:prstGeom prst="rect">
            <a:avLst/>
          </a:prstGeom>
        </p:spPr>
      </p:pic>
      <p:pic>
        <p:nvPicPr>
          <p:cNvPr id="12" name="Picture 4" descr="http://search.gigaom.com/wp-content/uploads/sites/3/2012/06/Netfli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871" y="2362194"/>
            <a:ext cx="1164698" cy="31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663744" y="810971"/>
            <a:ext cx="2565839" cy="1329113"/>
            <a:chOff x="663744" y="810971"/>
            <a:chExt cx="3182603" cy="1706509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8959" y="810971"/>
              <a:ext cx="2832174" cy="1434242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663744" y="2240481"/>
              <a:ext cx="318260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YouTube application for Sony's PlayStation </a:t>
              </a:r>
              <a:r>
                <a:rPr lang="en-US" sz="12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9" name="Picture 8" descr="http://3.bp.blogspot.com/-Sff89YZ1Kq0/T-dvh03TsnI/AAAAAAAAADo/ZOnhfHNRUXM/s1600/Freelancer-copy.com_logo_color_on_whit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7906" y="2878894"/>
            <a:ext cx="2407855" cy="504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://www.thepowderstash.com/images/Weather.com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932" y="1541076"/>
            <a:ext cx="1451597" cy="106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https://encrypted-tbn2.gstatic.com/images?q=tbn:ANd9GcQs6s7JkPkkjwgPmNQYjrBPdnM4rpBOIMOV456T188kTcYZtcAm4DS95d8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929" y="1063418"/>
            <a:ext cx="880961" cy="880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http://www.webshaper.com.my/0img/freegraphics/paypal/paypal_logo-bi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8114" y="2671622"/>
            <a:ext cx="1829413" cy="495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088324" y="4003221"/>
            <a:ext cx="33463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Go To : </a:t>
            </a:r>
            <a:r>
              <a:rPr lang="en-US" sz="1600" dirty="0">
                <a:hlinkClick r:id="rId9"/>
              </a:rPr>
              <a:t>www.madewithangular.com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5574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ngular js Job Trends grap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338" y="846138"/>
            <a:ext cx="6624637" cy="367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 Job Tren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563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ain4ce_course_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binar EdurekaTemplate" id="{452A3A16-C0C5-41A8-9027-3FB0E2E247B2}" vid="{95E9C04D-E104-4D45-BFF2-79ABBB5D25AF}"/>
    </a:ext>
  </a:extLst>
</a:theme>
</file>

<file path=ppt/theme/theme2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ebinar EdurekaTemplate</Template>
  <TotalTime>2690</TotalTime>
  <Words>899</Words>
  <Application>Microsoft Office PowerPoint</Application>
  <PresentationFormat>On-screen Show (16:9)</PresentationFormat>
  <Paragraphs>206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9" baseType="lpstr">
      <vt:lpstr>Arial</vt:lpstr>
      <vt:lpstr>Calibri</vt:lpstr>
      <vt:lpstr>Castellar</vt:lpstr>
      <vt:lpstr>HP Simplified</vt:lpstr>
      <vt:lpstr>Lucida Grande</vt:lpstr>
      <vt:lpstr>Symbol</vt:lpstr>
      <vt:lpstr>Tahoma</vt:lpstr>
      <vt:lpstr>Wingdings</vt:lpstr>
      <vt:lpstr>Brain4ce_course_template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ilt in Directives</vt:lpstr>
      <vt:lpstr>AngularJS Filters</vt:lpstr>
      <vt:lpstr>Filter Type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mala</dc:creator>
  <cp:lastModifiedBy>Awanish</cp:lastModifiedBy>
  <cp:revision>254</cp:revision>
  <dcterms:created xsi:type="dcterms:W3CDTF">2015-04-07T13:08:00Z</dcterms:created>
  <dcterms:modified xsi:type="dcterms:W3CDTF">2015-10-19T13:30:31Z</dcterms:modified>
</cp:coreProperties>
</file>